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sldIdLst>
    <p:sldId id="261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5" d="100"/>
          <a:sy n="65" d="100"/>
        </p:scale>
        <p:origin x="48" y="31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872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8449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671138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20640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38913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488578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63965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949085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639445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0147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1643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751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987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435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456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03662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5740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254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449020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952957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7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65144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4 March 2019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3b0419f9f98394ed35c676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9C6A17C-643B-470B-9E91-463F63E42A3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2152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 March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5899406dab2a0d23b550f14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35E5917-31C0-4620-8903-FAC8CBE1194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3769281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w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8.png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/>
              <a:t>Increase equipment efficienc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Guides for Lightweight Bottles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Efficiency</a:t>
            </a:r>
          </a:p>
          <a:p>
            <a:pPr lvl="0"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Labellers (</a:t>
            </a:r>
            <a:r>
              <a:rPr lang="en-US" altLang="fr-FR" dirty="0" err="1"/>
              <a:t>Rollfed</a:t>
            </a:r>
            <a:r>
              <a:rPr lang="en-US" altLang="fr-FR" dirty="0"/>
              <a:t> F25, F35 and F45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AA1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364284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fr-FR" sz="1200" b="0" kern="120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Increased operational speed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fr-FR" sz="1200" b="0" kern="120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Reduced number of labeler stoppages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fr-FR" sz="1200" b="0" kern="120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Long life, maintenance-free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n-US" altLang="de-DE" sz="1200" b="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fr-FR" sz="1200" dirty="0"/>
                        <a:t>Kit description: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dirty="0"/>
                        <a:t>New guides in </a:t>
                      </a:r>
                      <a:r>
                        <a:rPr lang="en-US" altLang="fr-F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-friction plastic easily adjustable </a:t>
                      </a:r>
                      <a:r>
                        <a:rPr lang="en-US" altLang="fr-FR" sz="1200" dirty="0"/>
                        <a:t>to keep the bottles stable, preventing their ejection from the platform bas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dirty="0"/>
                        <a:t>New centering bells internally shaped to fit the bottle top for good bottle retention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dirty="0"/>
                        <a:t>New platform bases made from milled stainless steel to increase the friction with the bottle base, thus increasing bottle stability</a:t>
                      </a:r>
                      <a:endParaRPr lang="en-GB" altLang="fr-FR" sz="1200" dirty="0"/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altLang="fr-FR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fr-FR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fr-FR" sz="1200" dirty="0">
                        <a:solidFill>
                          <a:srgbClr val="000000"/>
                        </a:solidFill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Rechteck 11">
            <a:extLst>
              <a:ext uri="{FF2B5EF4-FFF2-40B4-BE49-F238E27FC236}">
                <a16:creationId xmlns:a16="http://schemas.microsoft.com/office/drawing/2014/main" id="{C13736FD-4683-4FAA-8FD2-6D605B1F8569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4" name="Picture 9" descr="piattello_bis">
            <a:extLst>
              <a:ext uri="{FF2B5EF4-FFF2-40B4-BE49-F238E27FC236}">
                <a16:creationId xmlns:a16="http://schemas.microsoft.com/office/drawing/2014/main" id="{C584319B-8D1C-438B-A3BA-DDDC82310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581128"/>
            <a:ext cx="1293247" cy="906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21">
            <a:extLst>
              <a:ext uri="{FF2B5EF4-FFF2-40B4-BE49-F238E27FC236}">
                <a16:creationId xmlns:a16="http://schemas.microsoft.com/office/drawing/2014/main" id="{7902352B-FB13-4C9A-946E-9D9E1DF97EE3}"/>
              </a:ext>
            </a:extLst>
          </p:cNvPr>
          <p:cNvGrpSpPr>
            <a:grpSpLocks/>
          </p:cNvGrpSpPr>
          <p:nvPr/>
        </p:nvGrpSpPr>
        <p:grpSpPr bwMode="auto">
          <a:xfrm>
            <a:off x="4949415" y="4323408"/>
            <a:ext cx="2110829" cy="1163488"/>
            <a:chOff x="359" y="1735"/>
            <a:chExt cx="1932" cy="1089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4C5EE23-B7A4-40C3-8A1F-53ABCE0914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9" y="1735"/>
              <a:ext cx="1932" cy="1089"/>
              <a:chOff x="359" y="1395"/>
              <a:chExt cx="1932" cy="1089"/>
            </a:xfrm>
          </p:grpSpPr>
          <p:pic>
            <p:nvPicPr>
              <p:cNvPr id="21" name="Picture 7" descr="COCLEA_regolabile_04">
                <a:extLst>
                  <a:ext uri="{FF2B5EF4-FFF2-40B4-BE49-F238E27FC236}">
                    <a16:creationId xmlns:a16="http://schemas.microsoft.com/office/drawing/2014/main" id="{BB90E0AE-B86F-4071-A2E1-CAA2E5FEBC1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9" y="1479"/>
                <a:ext cx="1270" cy="9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aphicFrame>
            <p:nvGraphicFramePr>
              <p:cNvPr id="22" name="Object 11">
                <a:extLst>
                  <a:ext uri="{FF2B5EF4-FFF2-40B4-BE49-F238E27FC236}">
                    <a16:creationId xmlns:a16="http://schemas.microsoft.com/office/drawing/2014/main" id="{76826E13-0FFE-4BA0-9FDC-0C7E04CA6EC0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706" y="1395"/>
              <a:ext cx="585" cy="1089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5363" name="AutoCAD Drawing" r:id="rId5" imgW="18249900" imgH="7734300" progId="AutoCAD.Drawing.17">
                      <p:embed/>
                    </p:oleObj>
                  </mc:Choice>
                  <mc:Fallback>
                    <p:oleObj name="AutoCAD Drawing" r:id="rId5" imgW="18249900" imgH="7734300" progId="AutoCAD.Drawing.17">
                      <p:embed/>
                      <p:pic>
                        <p:nvPicPr>
                          <p:cNvPr id="10260" name="Object 11">
                            <a:extLst>
                              <a:ext uri="{FF2B5EF4-FFF2-40B4-BE49-F238E27FC236}">
                                <a16:creationId xmlns:a16="http://schemas.microsoft.com/office/drawing/2014/main" id="{12DC17D8-9610-40DF-994F-E0E507BBD85A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6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 l="56964" t="25980" r="30202" b="17670"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706" y="1395"/>
                            <a:ext cx="585" cy="1089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23" name="Oval 13">
                <a:extLst>
                  <a:ext uri="{FF2B5EF4-FFF2-40B4-BE49-F238E27FC236}">
                    <a16:creationId xmlns:a16="http://schemas.microsoft.com/office/drawing/2014/main" id="{FCEFE919-ABFA-44FB-8D2F-7164CC8C8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8" y="1861"/>
                <a:ext cx="408" cy="363"/>
              </a:xfrm>
              <a:prstGeom prst="ellipse">
                <a:avLst/>
              </a:prstGeom>
              <a:noFill/>
              <a:ln w="38100">
                <a:solidFill>
                  <a:srgbClr val="E64B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spcBef>
                    <a:spcPct val="45000"/>
                  </a:spcBef>
                  <a:buSzPct val="55000"/>
                  <a:buBlip>
                    <a:blip r:embed="rId7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buSzPct val="55000"/>
                  <a:buBlip>
                    <a:blip r:embed="rId7"/>
                  </a:buBlip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buSzPct val="50000"/>
                  <a:buBlip>
                    <a:blip r:embed="rId8"/>
                  </a:buBlip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buSzPct val="40000"/>
                  <a:buBlip>
                    <a:blip r:embed="rId8"/>
                  </a:buBlip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40000"/>
                  <a:buBlip>
                    <a:blip r:embed="rId8"/>
                  </a:buBlip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40000"/>
                  <a:buBlip>
                    <a:blip r:embed="rId8"/>
                  </a:buBlip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40000"/>
                  <a:buBlip>
                    <a:blip r:embed="rId8"/>
                  </a:buBlip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40000"/>
                  <a:buBlip>
                    <a:blip r:embed="rId8"/>
                  </a:buBlip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40000"/>
                  <a:buBlip>
                    <a:blip r:embed="rId8"/>
                  </a:buBlip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fr-F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24" name="Line 14">
                <a:extLst>
                  <a:ext uri="{FF2B5EF4-FFF2-40B4-BE49-F238E27FC236}">
                    <a16:creationId xmlns:a16="http://schemas.microsoft.com/office/drawing/2014/main" id="{19A8BB1C-2EA2-4C0A-9F84-BFD0F636BD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15" y="1995"/>
                <a:ext cx="591" cy="24"/>
              </a:xfrm>
              <a:prstGeom prst="line">
                <a:avLst/>
              </a:prstGeom>
              <a:noFill/>
              <a:ln w="19050">
                <a:solidFill>
                  <a:srgbClr val="E64B00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Line 18">
              <a:extLst>
                <a:ext uri="{FF2B5EF4-FFF2-40B4-BE49-F238E27FC236}">
                  <a16:creationId xmlns:a16="http://schemas.microsoft.com/office/drawing/2014/main" id="{2741BCC0-FC3A-4CE0-AEE1-0B75A3A83A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69" y="2693"/>
              <a:ext cx="0" cy="42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Line 19">
              <a:extLst>
                <a:ext uri="{FF2B5EF4-FFF2-40B4-BE49-F238E27FC236}">
                  <a16:creationId xmlns:a16="http://schemas.microsoft.com/office/drawing/2014/main" id="{216C9BC0-EF08-4DBF-82DA-4EE5685193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69" y="2690"/>
              <a:ext cx="249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Line 20">
              <a:extLst>
                <a:ext uri="{FF2B5EF4-FFF2-40B4-BE49-F238E27FC236}">
                  <a16:creationId xmlns:a16="http://schemas.microsoft.com/office/drawing/2014/main" id="{962B9CBD-68D9-4FBB-86D5-7E9B6DBC9F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8" y="2690"/>
              <a:ext cx="0" cy="45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5" name="Group 14">
            <a:extLst>
              <a:ext uri="{FF2B5EF4-FFF2-40B4-BE49-F238E27FC236}">
                <a16:creationId xmlns:a16="http://schemas.microsoft.com/office/drawing/2014/main" id="{C0BB46FE-E2A1-4B38-8802-E822AAFB3FE9}"/>
              </a:ext>
            </a:extLst>
          </p:cNvPr>
          <p:cNvGrpSpPr>
            <a:grpSpLocks/>
          </p:cNvGrpSpPr>
          <p:nvPr/>
        </p:nvGrpSpPr>
        <p:grpSpPr bwMode="auto">
          <a:xfrm>
            <a:off x="760446" y="3537728"/>
            <a:ext cx="3617559" cy="1959065"/>
            <a:chOff x="1156" y="2251"/>
            <a:chExt cx="3358" cy="1791"/>
          </a:xfrm>
        </p:grpSpPr>
        <p:pic>
          <p:nvPicPr>
            <p:cNvPr id="26" name="Picture 12" descr="000_studio_guide_08">
              <a:extLst>
                <a:ext uri="{FF2B5EF4-FFF2-40B4-BE49-F238E27FC236}">
                  <a16:creationId xmlns:a16="http://schemas.microsoft.com/office/drawing/2014/main" id="{553C6297-444F-4652-84F0-E1C999148D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6" y="2251"/>
              <a:ext cx="3358" cy="1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AutoShape 13">
              <a:extLst>
                <a:ext uri="{FF2B5EF4-FFF2-40B4-BE49-F238E27FC236}">
                  <a16:creationId xmlns:a16="http://schemas.microsoft.com/office/drawing/2014/main" id="{9B4823DC-D756-4098-A730-A35F14824A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0" y="2840"/>
              <a:ext cx="1814" cy="726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64B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SzPct val="55000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buSzPct val="55000"/>
                <a:buBlip>
                  <a:blip r:embed="rId7"/>
                </a:buBlip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buSzPct val="50000"/>
                <a:buBlip>
                  <a:blip r:embed="rId8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buSzPct val="40000"/>
                <a:buBlip>
                  <a:blip r:embed="rId8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40000"/>
                <a:buBlip>
                  <a:blip r:embed="rId8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40000"/>
                <a:buBlip>
                  <a:blip r:embed="rId8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40000"/>
                <a:buBlip>
                  <a:blip r:embed="rId8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40000"/>
                <a:buBlip>
                  <a:blip r:embed="rId8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40000"/>
                <a:buBlip>
                  <a:blip r:embed="rId8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179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1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Arial</vt:lpstr>
      <vt:lpstr>Wingdings</vt:lpstr>
      <vt:lpstr>Sidel Template 2013</vt:lpstr>
      <vt:lpstr>LIOMT</vt:lpstr>
      <vt:lpstr>think-cell Folie</vt:lpstr>
      <vt:lpstr>AutoCAD Drawing</vt:lpstr>
      <vt:lpstr>Increase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duce label jam risks with label detection</dc:title>
  <dc:creator>Gouriou, Lydie</dc:creator>
  <cp:lastModifiedBy>Sorega, Dan</cp:lastModifiedBy>
  <cp:revision>10</cp:revision>
  <dcterms:created xsi:type="dcterms:W3CDTF">2014-06-10T08:03:00Z</dcterms:created>
  <dcterms:modified xsi:type="dcterms:W3CDTF">2019-03-14T16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08T15:32:29.9099002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08T15:32:29.9099002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